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53" r:id="rId1"/>
    <p:sldMasterId id="2147483865" r:id="rId2"/>
    <p:sldMasterId id="2147483898" r:id="rId3"/>
  </p:sldMasterIdLst>
  <p:notesMasterIdLst>
    <p:notesMasterId r:id="rId6"/>
  </p:notesMasterIdLst>
  <p:sldIdLst>
    <p:sldId id="334" r:id="rId4"/>
    <p:sldId id="335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2" userDrawn="1">
          <p15:clr>
            <a:srgbClr val="A4A3A4"/>
          </p15:clr>
        </p15:guide>
        <p15:guide id="3" pos="57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BA698EE-9622-A5C4-EBE8-BA269FBE8A69}" name="Haskel Kwestel" initials="HK" userId="S::Haskel.Kwestel@ankura.com::3ee3d6c8-c0e0-4b40-b1f1-9917fb8dee7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hlej" initials="r" lastIdx="56" clrIdx="0"/>
  <p:cmAuthor id="2" name="gonsoe" initials="g" lastIdx="1" clrIdx="1"/>
  <p:cmAuthor id="3" name="khazam" initials="k" lastIdx="5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2447"/>
    <a:srgbClr val="009393"/>
    <a:srgbClr val="E6E6E6"/>
    <a:srgbClr val="288CD2"/>
    <a:srgbClr val="86C6F8"/>
    <a:srgbClr val="E5F3FD"/>
    <a:srgbClr val="56C08E"/>
    <a:srgbClr val="000000"/>
    <a:srgbClr val="B99D30"/>
    <a:srgbClr val="F9F9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24" autoAdjust="0"/>
    <p:restoredTop sz="95628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1176" y="102"/>
      </p:cViewPr>
      <p:guideLst>
        <p:guide orient="horz" pos="3792"/>
        <p:guide pos="57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796"/>
    </p:cViewPr>
  </p:sorter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8/10/relationships/authors" Target="author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C098ED-9C88-4229-A015-D97416F8FBC1}" type="datetimeFigureOut">
              <a:rPr lang="en-US" smtClean="0"/>
              <a:t>2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002CA6-723E-416B-ADF9-0F8399F22E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333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een at work building the communication strategy </a:t>
            </a:r>
          </a:p>
          <a:p>
            <a:endParaRPr lang="en-US" dirty="0"/>
          </a:p>
          <a:p>
            <a:r>
              <a:rPr lang="en-US" dirty="0"/>
              <a:t>Not just for IPO; framing distinctive narrative for the longer-term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704B16-A1E2-439E-B20B-8D73DDC5CB1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2184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BC962D6-31E7-46AA-8FF1-87ABD112F4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5099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Picture 42">
            <a:extLst>
              <a:ext uri="{FF2B5EF4-FFF2-40B4-BE49-F238E27FC236}">
                <a16:creationId xmlns:a16="http://schemas.microsoft.com/office/drawing/2014/main" id="{6BFE8039-8804-E143-B5F0-E1D9A16F543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7575"/>
            <a:ext cx="12192000" cy="429945"/>
          </a:xfrm>
          <a:prstGeom prst="rect">
            <a:avLst/>
          </a:prstGeom>
        </p:spPr>
      </p:pic>
      <p:pic>
        <p:nvPicPr>
          <p:cNvPr id="5" name="Picture 4" descr="A picture containing person, person&#10;&#10;Description automatically generated">
            <a:extLst>
              <a:ext uri="{FF2B5EF4-FFF2-40B4-BE49-F238E27FC236}">
                <a16:creationId xmlns:a16="http://schemas.microsoft.com/office/drawing/2014/main" id="{FE4601EB-ADCA-40E0-9EF0-94DF6B73D75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893"/>
            <a:ext cx="12188824" cy="68562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557641" y="4871743"/>
            <a:ext cx="3283151" cy="505015"/>
          </a:xfrm>
        </p:spPr>
        <p:txBody>
          <a:bodyPr vert="horz" anchor="b">
            <a:normAutofit/>
          </a:bodyPr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557641" y="5468834"/>
            <a:ext cx="3283151" cy="393732"/>
          </a:xfrm>
        </p:spPr>
        <p:txBody>
          <a:bodyPr>
            <a:normAutofit/>
          </a:bodyPr>
          <a:lstStyle>
            <a:lvl1pPr marL="0" indent="0" algn="ctr">
              <a:buNone/>
              <a:defRPr sz="1800" b="0" i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</p:txBody>
      </p:sp>
      <p:pic>
        <p:nvPicPr>
          <p:cNvPr id="42" name="Picture 2" descr="https://lancium.com/images/Lancium-Logo-white-big-6f3a36ae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47887" y="4353266"/>
            <a:ext cx="2264073" cy="548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12115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6B0E84D-0025-4C78-BDD8-6B3746882D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2230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11E7F8A-EFF6-4408-BBE0-121D68A267A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E67E57B-BA6F-4BC8-8BFE-BBBF6E2A62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6873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portal.lancium.com/packs/media/images/windfarm-3-eff152c75dcfaaa191d6314f938d8f43.jpg"/>
          <p:cNvPicPr>
            <a:picLocks noChangeAspect="1" noChangeArrowheads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4369" cy="6889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046341" y="2509543"/>
            <a:ext cx="3283151" cy="505015"/>
          </a:xfrm>
        </p:spPr>
        <p:txBody>
          <a:bodyPr anchor="b">
            <a:normAutofit/>
          </a:bodyPr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046341" y="3106634"/>
            <a:ext cx="3283151" cy="393732"/>
          </a:xfrm>
        </p:spPr>
        <p:txBody>
          <a:bodyPr>
            <a:normAutofit/>
          </a:bodyPr>
          <a:lstStyle>
            <a:lvl1pPr marL="0" indent="0" algn="ctr">
              <a:buNone/>
              <a:defRPr sz="1800" b="0" i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</p:txBody>
      </p:sp>
      <p:pic>
        <p:nvPicPr>
          <p:cNvPr id="42" name="Picture 2" descr="https://lancium.com/images/Lancium-Logo-white-big-6f3a36a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36587" y="1991066"/>
            <a:ext cx="2264073" cy="548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6BFE8039-8804-E143-B5F0-E1D9A16F543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7575"/>
            <a:ext cx="12192000" cy="429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2592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windmill, outdoor object, light&#10;&#10;Description automatically generated">
            <a:extLst>
              <a:ext uri="{FF2B5EF4-FFF2-40B4-BE49-F238E27FC236}">
                <a16:creationId xmlns:a16="http://schemas.microsoft.com/office/drawing/2014/main" id="{8827A0D6-D4F4-2B4E-B404-A2B52313DB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5537" y="-10906"/>
            <a:ext cx="7796463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-10906"/>
            <a:ext cx="43955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2959768" cy="612648"/>
          </a:xfrm>
        </p:spPr>
        <p:txBody>
          <a:bodyPr anchor="t" anchorCtr="0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1" y="1780674"/>
            <a:ext cx="2959768" cy="1642459"/>
          </a:xfrm>
        </p:spPr>
        <p:txBody>
          <a:bodyPr anchor="b">
            <a:noAutofit/>
          </a:bodyPr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1A4B29A-E6E5-4D21-A4F7-CD731C7BB8D5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808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10906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10668000" cy="612648"/>
          </a:xfrm>
        </p:spPr>
        <p:txBody>
          <a:bodyPr anchor="t" anchorCtr="0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2810485"/>
            <a:ext cx="6224016" cy="612648"/>
          </a:xfrm>
        </p:spPr>
        <p:txBody>
          <a:bodyPr>
            <a:noAutofit/>
          </a:bodyPr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1A4B29A-E6E5-4D21-A4F7-CD731C7BB8D5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E4E57E-2A51-DC4D-8584-264DC18027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7575"/>
            <a:ext cx="12192000" cy="429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1761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C40BD21-3BB6-7141-8EA0-09C849CC03BA}"/>
              </a:ext>
            </a:extLst>
          </p:cNvPr>
          <p:cNvSpPr/>
          <p:nvPr userDrawn="1"/>
        </p:nvSpPr>
        <p:spPr>
          <a:xfrm>
            <a:off x="4395537" y="-10906"/>
            <a:ext cx="7796463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-10906"/>
            <a:ext cx="43955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2959768" cy="612648"/>
          </a:xfrm>
        </p:spPr>
        <p:txBody>
          <a:bodyPr anchor="t" anchorCtr="0"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1" y="1780674"/>
            <a:ext cx="2959768" cy="1642459"/>
          </a:xfrm>
        </p:spPr>
        <p:txBody>
          <a:bodyPr anchor="b">
            <a:noAutofit/>
          </a:bodyPr>
          <a:lstStyle>
            <a:lvl1pPr marL="0" indent="0" algn="ctr"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1A4B29A-E6E5-4D21-A4F7-CD731C7BB8D5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FA82040-6D33-AB40-8AF2-855DCC5889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95788" y="-11113"/>
            <a:ext cx="7796212" cy="686911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9850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7" y="342564"/>
            <a:ext cx="8580468" cy="450957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accent2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895A3DF-46BC-4DA4-9658-9094DF1461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349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4822593" cy="402336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1237" y="2082021"/>
            <a:ext cx="4822593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6203899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6203899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042087C-6AC9-4F85-B2E2-BA7D563928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1096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4822593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1237" y="2082021"/>
            <a:ext cx="4822593" cy="17584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6203899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6203899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1209868" y="4425598"/>
            <a:ext cx="4822593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4"/>
          </p:nvPr>
        </p:nvSpPr>
        <p:spPr>
          <a:xfrm>
            <a:off x="6203899" y="4425598"/>
            <a:ext cx="4822593" cy="17584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209636" y="4313054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6216561" y="4313054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1209637" y="3919577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6216561" y="3919577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6FE3B7F7-5EF3-4F69-953C-EDC2FA5E18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9918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9930339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99042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9904666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1209868" y="4425598"/>
            <a:ext cx="9930339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209636" y="4313054"/>
            <a:ext cx="99042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1209637" y="3919577"/>
            <a:ext cx="9904666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7A8EA18-5AA3-4313-8B7B-CC1142BD90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34057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windmill, outdoor object, light&#10;&#10;Description automatically generated">
            <a:extLst>
              <a:ext uri="{FF2B5EF4-FFF2-40B4-BE49-F238E27FC236}">
                <a16:creationId xmlns:a16="http://schemas.microsoft.com/office/drawing/2014/main" id="{8827A0D6-D4F4-2B4E-B404-A2B52313DB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5537" y="-10906"/>
            <a:ext cx="7796463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-10906"/>
            <a:ext cx="43955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2959768" cy="612648"/>
          </a:xfrm>
        </p:spPr>
        <p:txBody>
          <a:bodyPr anchor="t" anchorCtr="0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1" y="1780674"/>
            <a:ext cx="2959768" cy="1642459"/>
          </a:xfrm>
        </p:spPr>
        <p:txBody>
          <a:bodyPr anchor="b">
            <a:noAutofit/>
          </a:bodyPr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689080" y="6510467"/>
            <a:ext cx="502919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A4B29A-E6E5-4D21-A4F7-CD731C7BB8D5}" type="slidenum"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403F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403F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4773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7" y="342564"/>
            <a:ext cx="8580468" cy="4509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B822EA6-3888-43CA-857C-3AE2967B7C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1859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EDAD3FB1-C618-4358-BC9C-D0879F787D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666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portal.lancium.com/packs/media/images/windfarm-3-eff152c75dcfaaa191d6314f938d8f43.jpg"/>
          <p:cNvPicPr>
            <a:picLocks noChangeAspect="1" noChangeArrowheads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4369" cy="6889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046341" y="2509543"/>
            <a:ext cx="3283151" cy="505015"/>
          </a:xfrm>
        </p:spPr>
        <p:txBody>
          <a:bodyPr anchor="b">
            <a:normAutofit/>
          </a:bodyPr>
          <a:lstStyle>
            <a:lvl1pPr algn="ctr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046341" y="3106634"/>
            <a:ext cx="3283151" cy="393732"/>
          </a:xfrm>
        </p:spPr>
        <p:txBody>
          <a:bodyPr>
            <a:normAutofit/>
          </a:bodyPr>
          <a:lstStyle>
            <a:lvl1pPr marL="0" indent="0" algn="ctr">
              <a:buNone/>
              <a:defRPr sz="1800" b="0" i="0">
                <a:solidFill>
                  <a:schemeClr val="bg1"/>
                </a:solidFill>
                <a:latin typeface="Calibri Light" panose="020F03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</p:txBody>
      </p:sp>
      <p:pic>
        <p:nvPicPr>
          <p:cNvPr id="42" name="Picture 2" descr="https://lancium.com/images/Lancium-Logo-white-big-6f3a36a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36587" y="1991066"/>
            <a:ext cx="2264073" cy="548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Freeform 46"/>
          <p:cNvSpPr/>
          <p:nvPr userDrawn="1"/>
        </p:nvSpPr>
        <p:spPr>
          <a:xfrm>
            <a:off x="-1309255" y="-2458410"/>
            <a:ext cx="13868400" cy="10730930"/>
          </a:xfrm>
          <a:custGeom>
            <a:avLst/>
            <a:gdLst>
              <a:gd name="connsiteX0" fmla="*/ 0 w 13868400"/>
              <a:gd name="connsiteY0" fmla="*/ 0 h 10730930"/>
              <a:gd name="connsiteX1" fmla="*/ 13716000 w 13868400"/>
              <a:gd name="connsiteY1" fmla="*/ 0 h 10730930"/>
              <a:gd name="connsiteX2" fmla="*/ 13716000 w 13868400"/>
              <a:gd name="connsiteY2" fmla="*/ 152400 h 10730930"/>
              <a:gd name="connsiteX3" fmla="*/ 13868400 w 13868400"/>
              <a:gd name="connsiteY3" fmla="*/ 152400 h 10730930"/>
              <a:gd name="connsiteX4" fmla="*/ 13868400 w 13868400"/>
              <a:gd name="connsiteY4" fmla="*/ 9711265 h 10730930"/>
              <a:gd name="connsiteX5" fmla="*/ 13501254 w 13868400"/>
              <a:gd name="connsiteY5" fmla="*/ 9711265 h 10730930"/>
              <a:gd name="connsiteX6" fmla="*/ 13501254 w 13868400"/>
              <a:gd name="connsiteY6" fmla="*/ 10730930 h 10730930"/>
              <a:gd name="connsiteX7" fmla="*/ 1289113 w 13868400"/>
              <a:gd name="connsiteY7" fmla="*/ 10730930 h 10730930"/>
              <a:gd name="connsiteX8" fmla="*/ 1289113 w 13868400"/>
              <a:gd name="connsiteY8" fmla="*/ 9316410 h 10730930"/>
              <a:gd name="connsiteX9" fmla="*/ 13501254 w 13868400"/>
              <a:gd name="connsiteY9" fmla="*/ 9316410 h 10730930"/>
              <a:gd name="connsiteX10" fmla="*/ 13501254 w 13868400"/>
              <a:gd name="connsiteY10" fmla="*/ 2458409 h 10730930"/>
              <a:gd name="connsiteX11" fmla="*/ 0 w 13868400"/>
              <a:gd name="connsiteY11" fmla="*/ 2458409 h 10730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868400" h="10730930">
                <a:moveTo>
                  <a:pt x="0" y="0"/>
                </a:moveTo>
                <a:lnTo>
                  <a:pt x="13716000" y="0"/>
                </a:lnTo>
                <a:lnTo>
                  <a:pt x="13716000" y="152400"/>
                </a:lnTo>
                <a:lnTo>
                  <a:pt x="13868400" y="152400"/>
                </a:lnTo>
                <a:lnTo>
                  <a:pt x="13868400" y="9711265"/>
                </a:lnTo>
                <a:lnTo>
                  <a:pt x="13501254" y="9711265"/>
                </a:lnTo>
                <a:lnTo>
                  <a:pt x="13501254" y="10730930"/>
                </a:lnTo>
                <a:lnTo>
                  <a:pt x="1289113" y="10730930"/>
                </a:lnTo>
                <a:lnTo>
                  <a:pt x="1289113" y="9316410"/>
                </a:lnTo>
                <a:lnTo>
                  <a:pt x="13501254" y="9316410"/>
                </a:lnTo>
                <a:lnTo>
                  <a:pt x="13501254" y="2458409"/>
                </a:lnTo>
                <a:lnTo>
                  <a:pt x="0" y="2458409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6BFE8039-8804-E143-B5F0-E1D9A16F543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7575"/>
            <a:ext cx="12192000" cy="429945"/>
          </a:xfrm>
          <a:prstGeom prst="rect">
            <a:avLst/>
          </a:prstGeom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FCD7E6A-0B1A-4BF9-A924-7C6D9A604F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5554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C40BD21-3BB6-7141-8EA0-09C849CC03BA}"/>
              </a:ext>
            </a:extLst>
          </p:cNvPr>
          <p:cNvSpPr/>
          <p:nvPr userDrawn="1"/>
        </p:nvSpPr>
        <p:spPr>
          <a:xfrm>
            <a:off x="4395537" y="-10906"/>
            <a:ext cx="7796463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-10906"/>
            <a:ext cx="43955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2959768" cy="612648"/>
          </a:xfrm>
        </p:spPr>
        <p:txBody>
          <a:bodyPr anchor="t" anchorCtr="0"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1" y="1780674"/>
            <a:ext cx="2959768" cy="1642459"/>
          </a:xfrm>
        </p:spPr>
        <p:txBody>
          <a:bodyPr anchor="b">
            <a:noAutofit/>
          </a:bodyPr>
          <a:lstStyle>
            <a:lvl1pPr marL="0" indent="0" algn="ctr"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1A4B29A-E6E5-4D21-A4F7-CD731C7BB8D5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  <p:pic>
        <p:nvPicPr>
          <p:cNvPr id="11" name="Picture 10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B414FF68-F7FA-467D-9AED-681BAEB3A5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6831" r="19222"/>
          <a:stretch/>
        </p:blipFill>
        <p:spPr>
          <a:xfrm>
            <a:off x="4395536" y="4892"/>
            <a:ext cx="7796463" cy="6842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710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7" y="342564"/>
            <a:ext cx="8580468" cy="450957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accent2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C42E1BF-7971-483B-AE9F-59AAF68604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640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4822593" cy="402336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1237" y="2082021"/>
            <a:ext cx="4822593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6203899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6203899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BCC822F-DDCF-4287-97A8-C3ED55CEDD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51082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4822593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1237" y="2082021"/>
            <a:ext cx="4822593" cy="17584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6203899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6203899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1209868" y="4425598"/>
            <a:ext cx="4822593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4"/>
          </p:nvPr>
        </p:nvSpPr>
        <p:spPr>
          <a:xfrm>
            <a:off x="6203899" y="4425598"/>
            <a:ext cx="4822593" cy="17584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209636" y="4313054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6216561" y="4313054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1209637" y="3919577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6216561" y="3919577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F0EF7C78-0BBC-45D8-91E8-09063959E4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1284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9930339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99042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9904666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1209868" y="4425598"/>
            <a:ext cx="9930339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209636" y="4313054"/>
            <a:ext cx="99042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1209637" y="3919577"/>
            <a:ext cx="9904666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E6B47DB-43F5-44C9-AD8B-6E9566757C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00628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icycle, outdoor, metal, railing&#10;&#10;Description automatically generated">
            <a:extLst>
              <a:ext uri="{FF2B5EF4-FFF2-40B4-BE49-F238E27FC236}">
                <a16:creationId xmlns:a16="http://schemas.microsoft.com/office/drawing/2014/main" id="{32B779E5-2631-45B5-8EF5-D7A52336A9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0371"/>
          <a:stretch/>
        </p:blipFill>
        <p:spPr>
          <a:xfrm>
            <a:off x="0" y="1371600"/>
            <a:ext cx="12192000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6375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7" y="342564"/>
            <a:ext cx="8580468" cy="4509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74B905A-81B8-4814-B84F-93E0526641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4096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10906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10668000" cy="612648"/>
          </a:xfrm>
        </p:spPr>
        <p:txBody>
          <a:bodyPr anchor="t" anchorCtr="0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2810485"/>
            <a:ext cx="6224016" cy="612648"/>
          </a:xfrm>
        </p:spPr>
        <p:txBody>
          <a:bodyPr>
            <a:noAutofit/>
          </a:bodyPr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A4B29A-E6E5-4D21-A4F7-CD731C7BB8D5}" type="slidenum"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403F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403F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E4E57E-2A51-DC4D-8584-264DC18027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7575"/>
            <a:ext cx="12192000" cy="429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9697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54A86B67-46EA-48D5-95F7-9B7B0E717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9974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C40BD21-3BB6-7141-8EA0-09C849CC03BA}"/>
              </a:ext>
            </a:extLst>
          </p:cNvPr>
          <p:cNvSpPr/>
          <p:nvPr userDrawn="1"/>
        </p:nvSpPr>
        <p:spPr>
          <a:xfrm>
            <a:off x="4395537" y="-10906"/>
            <a:ext cx="7796463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-10906"/>
            <a:ext cx="43955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2959768" cy="612648"/>
          </a:xfrm>
        </p:spPr>
        <p:txBody>
          <a:bodyPr anchor="t" anchorCtr="0"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1" y="1780674"/>
            <a:ext cx="2959768" cy="1642459"/>
          </a:xfrm>
        </p:spPr>
        <p:txBody>
          <a:bodyPr anchor="b">
            <a:noAutofit/>
          </a:bodyPr>
          <a:lstStyle>
            <a:lvl1pPr marL="0" indent="0" algn="ctr"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1A4B29A-E6E5-4D21-A4F7-CD731C7BB8D5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FA82040-6D33-AB40-8AF2-855DCC5889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95788" y="-11113"/>
            <a:ext cx="7796212" cy="686911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619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1D15328-A63C-0F4F-A64E-5B14D6207927}"/>
              </a:ext>
            </a:extLst>
          </p:cNvPr>
          <p:cNvSpPr/>
          <p:nvPr userDrawn="1"/>
        </p:nvSpPr>
        <p:spPr>
          <a:xfrm>
            <a:off x="0" y="0"/>
            <a:ext cx="12192000" cy="255895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97C0B5-6B4F-9E4A-9D8B-6AA547EC1F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685800"/>
          </a:xfrm>
        </p:spPr>
        <p:txBody>
          <a:bodyPr/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E91A914-53FB-CF4D-A91C-AB8C55AF7F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3630706"/>
            <a:ext cx="2527879" cy="2558957"/>
          </a:xfrm>
        </p:spPr>
        <p:txBody>
          <a:bodyPr/>
          <a:lstStyle>
            <a:lvl1pPr marL="0" indent="0" algn="ctr">
              <a:buFontTx/>
              <a:buNone/>
              <a:defRPr/>
            </a:lvl1pPr>
            <a:lvl2pPr marL="457200" indent="0" algn="ctr">
              <a:buFontTx/>
              <a:buNone/>
              <a:defRPr/>
            </a:lvl2pPr>
            <a:lvl3pPr marL="914400" indent="0" algn="ctr">
              <a:buFontTx/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CEA8CE-08B7-3041-B2DE-DAD6045DC6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746001" y="3630706"/>
            <a:ext cx="2609386" cy="2558957"/>
          </a:xfrm>
        </p:spPr>
        <p:txBody>
          <a:bodyPr/>
          <a:lstStyle>
            <a:lvl1pPr marL="0" indent="0" algn="ctr">
              <a:buFontTx/>
              <a:buNone/>
              <a:defRPr/>
            </a:lvl1pPr>
            <a:lvl2pPr marL="457200" indent="0" algn="ctr">
              <a:buFontTx/>
              <a:buNone/>
              <a:defRPr/>
            </a:lvl2pPr>
            <a:lvl3pPr marL="914400" indent="0" algn="ctr">
              <a:buFontTx/>
              <a:buNone/>
              <a:defRPr/>
            </a:lvl3pPr>
            <a:lvl4pPr marL="1371600" indent="0" algn="ctr">
              <a:buFontTx/>
              <a:buNone/>
              <a:defRPr/>
            </a:lvl4pPr>
            <a:lvl5pPr marL="1828800" indent="0" algn="ctr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32FDE1-CF81-DA4E-8EB6-04A08F73BE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835EFD1-E877-1548-91F1-6F0680B240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95B0801-C368-9E4D-9652-9A4072D14D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6AFD3138-82EF-1146-8309-CC40CA9F2BF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468301" y="3630706"/>
            <a:ext cx="2527879" cy="2558957"/>
          </a:xfrm>
        </p:spPr>
        <p:txBody>
          <a:bodyPr/>
          <a:lstStyle>
            <a:lvl1pPr marL="0" indent="0" algn="ctr">
              <a:buFontTx/>
              <a:buNone/>
              <a:defRPr/>
            </a:lvl1pPr>
            <a:lvl2pPr marL="457200" indent="0" algn="ctr">
              <a:buFontTx/>
              <a:buNone/>
              <a:defRPr/>
            </a:lvl2pPr>
            <a:lvl3pPr marL="914400" indent="0" algn="ctr">
              <a:buFontTx/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FA9E120E-DC50-3B47-A78B-5A92C803864A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107151" y="3649961"/>
            <a:ext cx="2527879" cy="2558957"/>
          </a:xfrm>
        </p:spPr>
        <p:txBody>
          <a:bodyPr/>
          <a:lstStyle>
            <a:lvl1pPr marL="0" indent="0" algn="ctr">
              <a:buFontTx/>
              <a:buNone/>
              <a:defRPr/>
            </a:lvl1pPr>
            <a:lvl2pPr marL="457200" indent="0" algn="ctr">
              <a:buFontTx/>
              <a:buNone/>
              <a:defRPr/>
            </a:lvl2pPr>
            <a:lvl3pPr marL="914400" indent="0" algn="ctr">
              <a:buFontTx/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2B37CAFF-2720-5D4B-90D9-09FDE5F198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1079781"/>
            <a:ext cx="10515600" cy="336269"/>
          </a:xfrm>
        </p:spPr>
        <p:txBody>
          <a:bodyPr anchor="ctr"/>
          <a:lstStyle>
            <a:lvl1pPr marL="0" indent="0" algn="ctr">
              <a:buFontTx/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F0D65E2-95AE-6740-A2A9-F8C6DA6FA0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9351" y="1499348"/>
            <a:ext cx="10515600" cy="685800"/>
          </a:xfrm>
        </p:spPr>
        <p:txBody>
          <a:bodyPr anchor="t"/>
          <a:lstStyle>
            <a:lvl1pPr marL="0" indent="0" algn="ctr"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23171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10906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10668000" cy="612648"/>
          </a:xfrm>
        </p:spPr>
        <p:txBody>
          <a:bodyPr anchor="t" anchorCtr="0">
            <a:normAutofit/>
          </a:bodyPr>
          <a:lstStyle>
            <a:lvl1pPr algn="l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0" y="2810485"/>
            <a:ext cx="6224016" cy="612648"/>
          </a:xfrm>
        </p:spPr>
        <p:txBody>
          <a:bodyPr>
            <a:noAutofit/>
          </a:bodyPr>
          <a:lstStyle>
            <a:lvl1pPr marL="0" indent="0" algn="l">
              <a:buNone/>
              <a:defRPr sz="40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1A4B29A-E6E5-4D21-A4F7-CD731C7BB8D5}" type="slidenum">
              <a:rPr lang="en-US" altLang="en-US"/>
              <a:pPr/>
              <a:t>‹#›</a:t>
            </a:fld>
            <a:endParaRPr lang="en-US" altLang="en-US"/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E4E57E-2A51-DC4D-8584-264DC18027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7575"/>
            <a:ext cx="12192000" cy="429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031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C40BD21-3BB6-7141-8EA0-09C849CC03BA}"/>
              </a:ext>
            </a:extLst>
          </p:cNvPr>
          <p:cNvSpPr/>
          <p:nvPr userDrawn="1"/>
        </p:nvSpPr>
        <p:spPr>
          <a:xfrm>
            <a:off x="4395537" y="-10906"/>
            <a:ext cx="7796463" cy="68580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88AFE6F-EEC5-104B-9236-0561036B7A9A}"/>
              </a:ext>
            </a:extLst>
          </p:cNvPr>
          <p:cNvSpPr/>
          <p:nvPr userDrawn="1"/>
        </p:nvSpPr>
        <p:spPr>
          <a:xfrm>
            <a:off x="0" y="-10906"/>
            <a:ext cx="439553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3563241"/>
            <a:ext cx="2959768" cy="612648"/>
          </a:xfrm>
        </p:spPr>
        <p:txBody>
          <a:bodyPr anchor="t" anchorCtr="0">
            <a:normAutofit/>
          </a:bodyPr>
          <a:lstStyle>
            <a:lvl1pPr algn="ctr">
              <a:defRPr sz="2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62001" y="1780674"/>
            <a:ext cx="2959768" cy="1642459"/>
          </a:xfrm>
        </p:spPr>
        <p:txBody>
          <a:bodyPr anchor="b">
            <a:noAutofit/>
          </a:bodyPr>
          <a:lstStyle>
            <a:lvl1pPr marL="0" indent="0" algn="ctr"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C56F64-CACE-4C27-81CA-D8CBD2A408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A4B29A-E6E5-4D21-A4F7-CD731C7BB8D5}" type="slidenum"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403F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403F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 descr="A black and white logo&#10;&#10;Description automatically generated with medium confidence">
            <a:extLst>
              <a:ext uri="{FF2B5EF4-FFF2-40B4-BE49-F238E27FC236}">
                <a16:creationId xmlns:a16="http://schemas.microsoft.com/office/drawing/2014/main" id="{FDEA19E9-EB42-EA4E-8BCA-E8DA3A666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482" y="6143826"/>
            <a:ext cx="1985676" cy="337930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FA82040-6D33-AB40-8AF2-855DCC5889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95788" y="-11113"/>
            <a:ext cx="7796212" cy="686911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2126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7" y="342564"/>
            <a:ext cx="8580468" cy="450957"/>
          </a:xfrm>
        </p:spPr>
        <p:txBody>
          <a:bodyPr/>
          <a:lstStyle>
            <a:lvl1pPr>
              <a:defRPr b="1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accent2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07C1CF3-3807-41F5-A09B-B0FAE8C238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14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4822593" cy="402336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1237" y="2082021"/>
            <a:ext cx="4822593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6203899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6203899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8A68E1-FD78-4872-8163-86EE954411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8645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4822593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1237" y="2082021"/>
            <a:ext cx="4822593" cy="17584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6203899" y="1969477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6203899" y="1576000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1209868" y="4425598"/>
            <a:ext cx="4822593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4"/>
          </p:nvPr>
        </p:nvSpPr>
        <p:spPr>
          <a:xfrm>
            <a:off x="6203899" y="4425598"/>
            <a:ext cx="4822593" cy="17584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209636" y="4313054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6216561" y="4313054"/>
            <a:ext cx="480993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1209637" y="3919577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6216561" y="3919577"/>
            <a:ext cx="4810125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F81C7FFE-9C85-497B-8F67-012F2AB783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8462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6" y="342564"/>
            <a:ext cx="8579839" cy="450957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97206" y="2082021"/>
            <a:ext cx="9930339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96974" y="1969477"/>
            <a:ext cx="99042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196975" y="1576000"/>
            <a:ext cx="9904666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1209868" y="4425598"/>
            <a:ext cx="9930339" cy="175845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1209636" y="4313054"/>
            <a:ext cx="990426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3"/>
          <p:cNvSpPr>
            <a:spLocks noGrp="1"/>
          </p:cNvSpPr>
          <p:nvPr>
            <p:ph type="body" sz="quarter" idx="15"/>
          </p:nvPr>
        </p:nvSpPr>
        <p:spPr>
          <a:xfrm>
            <a:off x="1209637" y="3919577"/>
            <a:ext cx="9904666" cy="393700"/>
          </a:xfrm>
        </p:spPr>
        <p:txBody>
          <a:bodyPr anchor="ctr">
            <a:normAutofit/>
          </a:bodyPr>
          <a:lstStyle>
            <a:lvl1pPr algn="ctr">
              <a:defRPr sz="1800" b="0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499CE73-ABB4-478E-AED2-A73AC7B6D4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1643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97207" y="342564"/>
            <a:ext cx="8580468" cy="4509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96974" y="793750"/>
            <a:ext cx="8580701" cy="430213"/>
          </a:xfrm>
        </p:spPr>
        <p:txBody>
          <a:bodyPr anchor="ctr">
            <a:normAutofit/>
          </a:bodyPr>
          <a:lstStyle>
            <a:lvl1pPr>
              <a:defRPr sz="1400" b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256751B-3B74-4841-B085-AC2A4CA1AA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1059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heme" Target="../theme/theme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B3B5242-E897-47D9-908D-4B5B641CE3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53034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3" imgH="318" progId="TCLayout.ActiveDocument.1">
                  <p:embed/>
                </p:oleObj>
              </mc:Choice>
              <mc:Fallback>
                <p:oleObj name="think-cell Slide" r:id="rId14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 userDrawn="1"/>
        </p:nvSpPr>
        <p:spPr>
          <a:xfrm>
            <a:off x="0" y="0"/>
            <a:ext cx="12192000" cy="13716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97207" y="342564"/>
            <a:ext cx="6050942" cy="4509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97206" y="1627461"/>
            <a:ext cx="10071015" cy="4463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1587260" y="0"/>
            <a:ext cx="1526875" cy="3651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0E2547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1587261" y="408041"/>
            <a:ext cx="1526875" cy="365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288CD2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-1587261" y="816082"/>
            <a:ext cx="1526875" cy="3651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97A2B6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587262" y="1224123"/>
            <a:ext cx="1526875" cy="365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C2DDF2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-1587262" y="1643062"/>
            <a:ext cx="1526875" cy="3651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009393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-1587263" y="2051103"/>
            <a:ext cx="1526875" cy="3651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#56C08E</a:t>
            </a:r>
          </a:p>
        </p:txBody>
      </p:sp>
      <p:pic>
        <p:nvPicPr>
          <p:cNvPr id="1026" name="Picture 2" descr="https://lancium.com/images/Lancium-Logo-white-big-6f3a36ae.pn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14723" y="487389"/>
            <a:ext cx="2064269" cy="499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6E7EF763-8112-0942-AEB8-000DC60E8C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929" b="-27095"/>
          <a:stretch/>
        </p:blipFill>
        <p:spPr>
          <a:xfrm>
            <a:off x="0" y="6458500"/>
            <a:ext cx="12192000" cy="255460"/>
          </a:xfrm>
          <a:prstGeom prst="rect">
            <a:avLst/>
          </a:prstGeom>
        </p:spPr>
      </p:pic>
      <p:sp>
        <p:nvSpPr>
          <p:cNvPr id="4" name="GS Doctop Placeholder" hidden="1">
            <a:extLst>
              <a:ext uri="{FF2B5EF4-FFF2-40B4-BE49-F238E27FC236}">
                <a16:creationId xmlns:a16="http://schemas.microsoft.com/office/drawing/2014/main" id="{1F6727D3-E052-4E7D-B01A-A08A7F7AE8C5}"/>
              </a:ext>
            </a:extLst>
          </p:cNvPr>
          <p:cNvSpPr txBox="1"/>
          <p:nvPr userDrawn="1"/>
        </p:nvSpPr>
        <p:spPr>
          <a:xfrm>
            <a:off x="546100" y="0"/>
            <a:ext cx="5651500" cy="33855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00" b="0">
                <a:latin typeface="Arial" panose="020B0604020202020204" pitchFamily="34" charset="0"/>
              </a:rPr>
              <a:t>ibdroot\projects\IBD-NY\llano2021\683862_1\01. PPT\18. Analyst Day Working Drafts\14. (27-Mar-2022) Compiled Version\Draft Analyst Day Pres Combined (27-Mar-2022)v3pm.pptx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C627CC26-2E34-4296-BE47-60428E8084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113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6576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8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0C5F16D-822D-4D7B-8BD2-F1778EE5C9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965515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53" imgH="318" progId="TCLayout.ActiveDocument.1">
                  <p:embed/>
                </p:oleObj>
              </mc:Choice>
              <mc:Fallback>
                <p:oleObj name="think-cell Slide" r:id="rId13" imgW="353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 userDrawn="1"/>
        </p:nvSpPr>
        <p:spPr>
          <a:xfrm>
            <a:off x="0" y="0"/>
            <a:ext cx="12192000" cy="13716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97207" y="342564"/>
            <a:ext cx="6050942" cy="4509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97206" y="1627461"/>
            <a:ext cx="10071015" cy="4463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1587260" y="0"/>
            <a:ext cx="1526875" cy="3651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effectLst/>
              </a:rPr>
              <a:t>#0E2547</a:t>
            </a:r>
            <a:endParaRPr lang="en-US" sz="12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-1587261" y="408041"/>
            <a:ext cx="1526875" cy="365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effectLst/>
              </a:rPr>
              <a:t>#288CD2</a:t>
            </a:r>
            <a:endParaRPr lang="en-US" sz="12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1587261" y="816082"/>
            <a:ext cx="1526875" cy="3651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effectLst/>
              </a:rPr>
              <a:t>#97A2B6</a:t>
            </a:r>
            <a:endParaRPr lang="en-US" sz="120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587262" y="1224123"/>
            <a:ext cx="1526875" cy="365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effectLst/>
              </a:rPr>
              <a:t>#C2DDF2</a:t>
            </a:r>
            <a:endParaRPr lang="en-US" sz="120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-1587262" y="1643062"/>
            <a:ext cx="1526875" cy="3651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#009393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-1587263" y="2051103"/>
            <a:ext cx="1526875" cy="3651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#56C08E</a:t>
            </a:r>
          </a:p>
        </p:txBody>
      </p:sp>
      <p:pic>
        <p:nvPicPr>
          <p:cNvPr id="1026" name="Picture 2" descr="https://lancium.com/images/Lancium-Logo-white-big-6f3a36ae.png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14723" y="487389"/>
            <a:ext cx="2064269" cy="499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6E7EF763-8112-0942-AEB8-000DC60E8C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929" b="-27095"/>
          <a:stretch/>
        </p:blipFill>
        <p:spPr>
          <a:xfrm>
            <a:off x="0" y="6458500"/>
            <a:ext cx="12192000" cy="255460"/>
          </a:xfrm>
          <a:prstGeom prst="rect">
            <a:avLst/>
          </a:prstGeom>
        </p:spPr>
      </p:pic>
      <p:sp>
        <p:nvSpPr>
          <p:cNvPr id="4" name="GS Doctop Placeholder" hidden="1">
            <a:extLst>
              <a:ext uri="{FF2B5EF4-FFF2-40B4-BE49-F238E27FC236}">
                <a16:creationId xmlns:a16="http://schemas.microsoft.com/office/drawing/2014/main" id="{CFE657DA-6B28-4D36-87BD-F8BBB5ABEFD8}"/>
              </a:ext>
            </a:extLst>
          </p:cNvPr>
          <p:cNvSpPr txBox="1"/>
          <p:nvPr userDrawn="1"/>
        </p:nvSpPr>
        <p:spPr>
          <a:xfrm>
            <a:off x="546100" y="0"/>
            <a:ext cx="5651500" cy="33855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00" b="0">
                <a:latin typeface="Arial" panose="020B0604020202020204" pitchFamily="34" charset="0"/>
              </a:rPr>
              <a:t>ibdroot\projects\IBD-NY\llano2021\683862_1\01. PPT\18. Analyst Day Working Drafts\14. (27-Mar-2022) Compiled Version\Draft Analyst Day Pres Combined (27-Mar-2022)v3pm.pptx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9E1DCA03-0AD6-4CB7-AD5E-DB994CC9D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886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6576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8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21985-7882-415E-BF64-FAC6F5011C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82484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53" imgH="318" progId="TCLayout.ActiveDocument.1">
                  <p:embed/>
                </p:oleObj>
              </mc:Choice>
              <mc:Fallback>
                <p:oleObj name="think-cell Slide" r:id="rId15" imgW="353" imgH="31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21985-7882-415E-BF64-FAC6F5011C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 userDrawn="1"/>
        </p:nvSpPr>
        <p:spPr>
          <a:xfrm>
            <a:off x="0" y="0"/>
            <a:ext cx="12192000" cy="13716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97207" y="342564"/>
            <a:ext cx="6050942" cy="4509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97206" y="1627461"/>
            <a:ext cx="10071015" cy="4463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1587260" y="0"/>
            <a:ext cx="1526875" cy="3651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effectLst/>
              </a:rPr>
              <a:t>#0E2547</a:t>
            </a:r>
            <a:endParaRPr lang="en-US" sz="12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-1587261" y="408041"/>
            <a:ext cx="1526875" cy="365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effectLst/>
              </a:rPr>
              <a:t>#288CD2</a:t>
            </a:r>
            <a:endParaRPr lang="en-US" sz="12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1587261" y="816082"/>
            <a:ext cx="1526875" cy="3651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effectLst/>
              </a:rPr>
              <a:t>#97A2B6</a:t>
            </a:r>
            <a:endParaRPr lang="en-US" sz="120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587262" y="1224123"/>
            <a:ext cx="1526875" cy="365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effectLst/>
              </a:rPr>
              <a:t>#C2DDF2</a:t>
            </a:r>
            <a:endParaRPr lang="en-US" sz="120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-1587262" y="1643062"/>
            <a:ext cx="1526875" cy="3651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#009393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-1587263" y="2051103"/>
            <a:ext cx="1526875" cy="3651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#56C08E</a:t>
            </a:r>
          </a:p>
        </p:txBody>
      </p:sp>
      <p:pic>
        <p:nvPicPr>
          <p:cNvPr id="1026" name="Picture 2" descr="https://lancium.com/images/Lancium-Logo-white-big-6f3a36ae.pn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14723" y="487389"/>
            <a:ext cx="2064269" cy="499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Freeform 71"/>
          <p:cNvSpPr/>
          <p:nvPr userDrawn="1"/>
        </p:nvSpPr>
        <p:spPr>
          <a:xfrm>
            <a:off x="-1309255" y="-2458410"/>
            <a:ext cx="13868400" cy="10730930"/>
          </a:xfrm>
          <a:custGeom>
            <a:avLst/>
            <a:gdLst>
              <a:gd name="connsiteX0" fmla="*/ 0 w 13868400"/>
              <a:gd name="connsiteY0" fmla="*/ 0 h 10730930"/>
              <a:gd name="connsiteX1" fmla="*/ 13716000 w 13868400"/>
              <a:gd name="connsiteY1" fmla="*/ 0 h 10730930"/>
              <a:gd name="connsiteX2" fmla="*/ 13716000 w 13868400"/>
              <a:gd name="connsiteY2" fmla="*/ 152400 h 10730930"/>
              <a:gd name="connsiteX3" fmla="*/ 13868400 w 13868400"/>
              <a:gd name="connsiteY3" fmla="*/ 152400 h 10730930"/>
              <a:gd name="connsiteX4" fmla="*/ 13868400 w 13868400"/>
              <a:gd name="connsiteY4" fmla="*/ 9711265 h 10730930"/>
              <a:gd name="connsiteX5" fmla="*/ 13501254 w 13868400"/>
              <a:gd name="connsiteY5" fmla="*/ 9711265 h 10730930"/>
              <a:gd name="connsiteX6" fmla="*/ 13501254 w 13868400"/>
              <a:gd name="connsiteY6" fmla="*/ 10730930 h 10730930"/>
              <a:gd name="connsiteX7" fmla="*/ 1289113 w 13868400"/>
              <a:gd name="connsiteY7" fmla="*/ 10730930 h 10730930"/>
              <a:gd name="connsiteX8" fmla="*/ 1289113 w 13868400"/>
              <a:gd name="connsiteY8" fmla="*/ 9316410 h 10730930"/>
              <a:gd name="connsiteX9" fmla="*/ 13501254 w 13868400"/>
              <a:gd name="connsiteY9" fmla="*/ 9316410 h 10730930"/>
              <a:gd name="connsiteX10" fmla="*/ 13501254 w 13868400"/>
              <a:gd name="connsiteY10" fmla="*/ 2458409 h 10730930"/>
              <a:gd name="connsiteX11" fmla="*/ 0 w 13868400"/>
              <a:gd name="connsiteY11" fmla="*/ 2458409 h 10730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868400" h="10730930">
                <a:moveTo>
                  <a:pt x="0" y="0"/>
                </a:moveTo>
                <a:lnTo>
                  <a:pt x="13716000" y="0"/>
                </a:lnTo>
                <a:lnTo>
                  <a:pt x="13716000" y="152400"/>
                </a:lnTo>
                <a:lnTo>
                  <a:pt x="13868400" y="152400"/>
                </a:lnTo>
                <a:lnTo>
                  <a:pt x="13868400" y="9711265"/>
                </a:lnTo>
                <a:lnTo>
                  <a:pt x="13501254" y="9711265"/>
                </a:lnTo>
                <a:lnTo>
                  <a:pt x="13501254" y="10730930"/>
                </a:lnTo>
                <a:lnTo>
                  <a:pt x="1289113" y="10730930"/>
                </a:lnTo>
                <a:lnTo>
                  <a:pt x="1289113" y="9316410"/>
                </a:lnTo>
                <a:lnTo>
                  <a:pt x="13501254" y="9316410"/>
                </a:lnTo>
                <a:lnTo>
                  <a:pt x="13501254" y="2458409"/>
                </a:lnTo>
                <a:lnTo>
                  <a:pt x="0" y="2458409"/>
                </a:lnTo>
                <a:close/>
              </a:path>
            </a:pathLst>
          </a:cu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6E7EF763-8112-0942-AEB8-000DC60E8C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929" b="-27095"/>
          <a:stretch/>
        </p:blipFill>
        <p:spPr>
          <a:xfrm>
            <a:off x="0" y="6458500"/>
            <a:ext cx="12192000" cy="255460"/>
          </a:xfrm>
          <a:prstGeom prst="rect">
            <a:avLst/>
          </a:prstGeom>
        </p:spPr>
      </p:pic>
      <p:sp>
        <p:nvSpPr>
          <p:cNvPr id="6" name="GS Doctop Placeholder" hidden="1">
            <a:extLst>
              <a:ext uri="{FF2B5EF4-FFF2-40B4-BE49-F238E27FC236}">
                <a16:creationId xmlns:a16="http://schemas.microsoft.com/office/drawing/2014/main" id="{3AF83B73-6A2E-4312-A90A-A1874F2FAD47}"/>
              </a:ext>
            </a:extLst>
          </p:cNvPr>
          <p:cNvSpPr txBox="1"/>
          <p:nvPr userDrawn="1"/>
        </p:nvSpPr>
        <p:spPr>
          <a:xfrm>
            <a:off x="546100" y="0"/>
            <a:ext cx="5651500" cy="33855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00" b="0">
                <a:latin typeface="Arial" panose="020B0604020202020204" pitchFamily="34" charset="0"/>
              </a:rPr>
              <a:t>ibdroot\projects\IBD-NY\llano2021\683862_1\01. PPT\18. Analyst Day Working Drafts\14. (27-Mar-2022) Compiled Version\Draft Analyst Day Pres Combined (27-Mar-2022)v3pm.pptx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DBBDB8A4-418C-4171-BC4F-818E181168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66175" y="6510467"/>
            <a:ext cx="4258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06856027-B3E4-D541-ADCA-1105CA7B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881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42" r:id="rId10"/>
    <p:sldLayoutId id="2147483943" r:id="rId11"/>
    <p:sldLayoutId id="2147483944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6576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9728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DF834-C28F-C2A2-8AEE-17A9B9D4B45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NPRR 1202: Refundable Deposits for Large Load Interconnection Stud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1A35F1-9ED9-48A8-9621-8B7A2E81F2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2000" y="4176090"/>
            <a:ext cx="6224016" cy="921891"/>
          </a:xfrm>
        </p:spPr>
        <p:txBody>
          <a:bodyPr>
            <a:normAutofit fontScale="40000" lnSpcReduction="20000"/>
          </a:bodyPr>
          <a:lstStyle/>
          <a:p>
            <a:r>
              <a:rPr lang="en-US" dirty="0"/>
              <a:t>Andrew Reimers, Ph.D.</a:t>
            </a:r>
          </a:p>
          <a:p>
            <a:r>
              <a:rPr lang="en-US" dirty="0"/>
              <a:t>Wholesale </a:t>
            </a:r>
            <a:r>
              <a:rPr lang="en-US"/>
              <a:t>Markets Working Group</a:t>
            </a:r>
            <a:endParaRPr lang="en-US" dirty="0"/>
          </a:p>
          <a:p>
            <a:r>
              <a:rPr lang="en-US" dirty="0"/>
              <a:t>February 13, 2024</a:t>
            </a:r>
          </a:p>
        </p:txBody>
      </p:sp>
    </p:spTree>
    <p:extLst>
      <p:ext uri="{BB962C8B-B14F-4D97-AF65-F5344CB8AC3E}">
        <p14:creationId xmlns:p14="http://schemas.microsoft.com/office/powerpoint/2010/main" val="2628811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3BBD9A8-9179-FB6B-4556-7ACC226A6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PRR 1202 Discussion Point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3690757-A09D-63D8-AC49-BA8A098D90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hould a similar deposit also be applied to generators, or can it just be applied to large loads for now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ggested magnitudes:	</a:t>
            </a:r>
          </a:p>
          <a:p>
            <a:pPr marL="651510" lvl="1" indent="-285750"/>
            <a:r>
              <a:rPr lang="en-US" dirty="0"/>
              <a:t>$25k LLIS fee (instead of $50k)</a:t>
            </a:r>
          </a:p>
          <a:p>
            <a:pPr marL="651510" lvl="1" indent="-285750"/>
            <a:r>
              <a:rPr lang="en-US" dirty="0"/>
              <a:t>Initial deposit of $100/MW (X)</a:t>
            </a:r>
          </a:p>
          <a:p>
            <a:pPr marL="651510" lvl="1" indent="-285750"/>
            <a:r>
              <a:rPr lang="en-US" dirty="0"/>
              <a:t>Recurring deposit of $10/MW-quarter (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hould energization below approved amount continue to be charged a proportional fee? How should this be determined, e.g. a test to determine project’s max energized load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at if an interconnection is approved for less than applied for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en should clock start? After interconnection is approved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RCOT’s comments</a:t>
            </a:r>
          </a:p>
          <a:p>
            <a:pPr marL="651510" lvl="1" indent="-285750"/>
            <a:r>
              <a:rPr lang="en-US" dirty="0"/>
              <a:t>ERCOT doesn’t envision donating funds collected from the market to charity, but they could use the money for any </a:t>
            </a:r>
            <a:r>
              <a:rPr lang="en-US" i="1" dirty="0"/>
              <a:t>lawful purpose</a:t>
            </a:r>
          </a:p>
          <a:p>
            <a:pPr marL="651510" lvl="1" indent="-285750"/>
            <a:r>
              <a:rPr lang="en-US" dirty="0"/>
              <a:t>Cost-recovery for conducting studies isn’t a big enough number to influence queue behavi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ncium intends to file new comments with our thoughts on these question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CC7C4B-ABE5-FB94-3C5D-448F002D1A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317702-5F29-B1FF-E8C2-EAB30DB402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1A4B29A-E6E5-4D21-A4F7-CD731C7BB8D5}" type="slidenum">
              <a:rPr lang="en-US" altLang="en-US" smtClean="0"/>
              <a:pPr/>
              <a:t>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748254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2.9200.0"/>
  <p:tag name="AS_RELEASE_DATE" val="2018.09.12"/>
  <p:tag name="AS_TITLE" val="Aspose.Slides for .NET 4.0 Client Profile"/>
  <p:tag name="AS_VERSION" val="18.9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LANCIUM V7_2022">
      <a:dk1>
        <a:srgbClr val="403F40"/>
      </a:dk1>
      <a:lt1>
        <a:srgbClr val="FFFFFF"/>
      </a:lt1>
      <a:dk2>
        <a:srgbClr val="0E2447"/>
      </a:dk2>
      <a:lt2>
        <a:srgbClr val="DDE3EC"/>
      </a:lt2>
      <a:accent1>
        <a:srgbClr val="288CD2"/>
      </a:accent1>
      <a:accent2>
        <a:srgbClr val="86C6F8"/>
      </a:accent2>
      <a:accent3>
        <a:srgbClr val="009393"/>
      </a:accent3>
      <a:accent4>
        <a:srgbClr val="97A2B6"/>
      </a:accent4>
      <a:accent5>
        <a:srgbClr val="56C08E"/>
      </a:accent5>
      <a:accent6>
        <a:srgbClr val="DFF0FD"/>
      </a:accent6>
      <a:hlink>
        <a:srgbClr val="418CF1"/>
      </a:hlink>
      <a:folHlink>
        <a:srgbClr val="418CF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LANCIUM V7_2022">
      <a:dk1>
        <a:srgbClr val="403F40"/>
      </a:dk1>
      <a:lt1>
        <a:srgbClr val="FFFFFF"/>
      </a:lt1>
      <a:dk2>
        <a:srgbClr val="0E2447"/>
      </a:dk2>
      <a:lt2>
        <a:srgbClr val="DDE3EC"/>
      </a:lt2>
      <a:accent1>
        <a:srgbClr val="288CD2"/>
      </a:accent1>
      <a:accent2>
        <a:srgbClr val="86C6F8"/>
      </a:accent2>
      <a:accent3>
        <a:srgbClr val="009393"/>
      </a:accent3>
      <a:accent4>
        <a:srgbClr val="97A2B6"/>
      </a:accent4>
      <a:accent5>
        <a:srgbClr val="56C08E"/>
      </a:accent5>
      <a:accent6>
        <a:srgbClr val="DFF0FD"/>
      </a:accent6>
      <a:hlink>
        <a:srgbClr val="418CF1"/>
      </a:hlink>
      <a:folHlink>
        <a:srgbClr val="418CF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LANCIUM V7_2022">
      <a:dk1>
        <a:srgbClr val="403F40"/>
      </a:dk1>
      <a:lt1>
        <a:srgbClr val="FFFFFF"/>
      </a:lt1>
      <a:dk2>
        <a:srgbClr val="0E2447"/>
      </a:dk2>
      <a:lt2>
        <a:srgbClr val="DDE3EC"/>
      </a:lt2>
      <a:accent1>
        <a:srgbClr val="288CD2"/>
      </a:accent1>
      <a:accent2>
        <a:srgbClr val="86C6F8"/>
      </a:accent2>
      <a:accent3>
        <a:srgbClr val="009393"/>
      </a:accent3>
      <a:accent4>
        <a:srgbClr val="97A2B6"/>
      </a:accent4>
      <a:accent5>
        <a:srgbClr val="56C08E"/>
      </a:accent5>
      <a:accent6>
        <a:srgbClr val="DFF0FD"/>
      </a:accent6>
      <a:hlink>
        <a:srgbClr val="418CF1"/>
      </a:hlink>
      <a:folHlink>
        <a:srgbClr val="418CF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25</TotalTime>
  <Words>208</Words>
  <Application>Microsoft Office PowerPoint</Application>
  <PresentationFormat>Widescreen</PresentationFormat>
  <Paragraphs>22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Calibri Light</vt:lpstr>
      <vt:lpstr>Office Theme</vt:lpstr>
      <vt:lpstr>1_Office Theme</vt:lpstr>
      <vt:lpstr>3_Office Theme</vt:lpstr>
      <vt:lpstr>think-cell Slide</vt:lpstr>
      <vt:lpstr>NPRR 1202: Refundable Deposits for Large Load Interconnection Studies</vt:lpstr>
      <vt:lpstr>NPRR 1202 Discussion Poi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raft Analyst Day Pres Combined (27-Mar-2022)</dc:title>
  <dc:creator>Devine, Jack P [IBD]</dc:creator>
  <cp:lastModifiedBy>Andrew Reimers</cp:lastModifiedBy>
  <cp:revision>822</cp:revision>
  <dcterms:created xsi:type="dcterms:W3CDTF">2022-02-07T17:59:00Z</dcterms:created>
  <dcterms:modified xsi:type="dcterms:W3CDTF">2024-02-12T21:0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a6e350c4-6b1d-4b82-a5fd-a52113b310d1</vt:lpwstr>
  </property>
  <property fmtid="{D5CDD505-2E9C-101B-9397-08002B2CF9AE}" pid="3" name="Project">
    <vt:lpwstr>ibdroot</vt:lpwstr>
  </property>
  <property fmtid="{D5CDD505-2E9C-101B-9397-08002B2CF9AE}" pid="4" name="Classification">
    <vt:lpwstr>I</vt:lpwstr>
  </property>
  <property fmtid="{D5CDD505-2E9C-101B-9397-08002B2CF9AE}" pid="5" name="DocTopsCleaned">
    <vt:lpwstr>True</vt:lpwstr>
  </property>
  <property fmtid="{D5CDD505-2E9C-101B-9397-08002B2CF9AE}" pid="6" name="ShowHideDoctop">
    <vt:lpwstr>False</vt:lpwstr>
  </property>
</Properties>
</file>